
<file path=[Content_Types].xml><?xml version="1.0" encoding="utf-8"?>
<Types xmlns="http://schemas.openxmlformats.org/package/2006/content-types"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Default Extension="bin" ContentType="application/vnd.openxmlformats-officedocument.oleObject"/>
  <Default Extension="png" ContentType="image/png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tableStyles.xml" ContentType="application/vnd.openxmlformats-officedocument.presentationml.tableStyles+xml"/>
  <Default Extension="vml" ContentType="application/vnd.openxmlformats-officedocument.vmlDrawing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48" r:id="rId1"/>
  </p:sldMasterIdLst>
  <p:notesMasterIdLst>
    <p:notesMasterId r:id="rId6"/>
  </p:notesMasterIdLst>
  <p:handoutMasterIdLst>
    <p:handoutMasterId r:id="rId7"/>
  </p:handoutMasterIdLst>
  <p:sldIdLst>
    <p:sldId id="1947" r:id="rId2"/>
    <p:sldId id="1949" r:id="rId3"/>
    <p:sldId id="1950" r:id="rId4"/>
    <p:sldId id="1951" r:id="rId5"/>
  </p:sldIdLst>
  <p:sldSz cx="9144000" cy="6858000" type="screen4x3"/>
  <p:notesSz cx="6858000" cy="9661525"/>
  <p:custShowLst>
    <p:custShow name="Mustermann1" id="0">
      <p:sldLst/>
    </p:custShow>
  </p:custShowLst>
  <p:custDataLst>
    <p:tags r:id="rId8"/>
  </p:custDataLst>
  <p:defaultTextStyle>
    <a:defPPr>
      <a:defRPr lang="en-US"/>
    </a:defPPr>
    <a:lvl1pPr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1pPr>
    <a:lvl2pPr marL="4572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2pPr>
    <a:lvl3pPr marL="9144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3pPr>
    <a:lvl4pPr marL="13716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4pPr>
    <a:lvl5pPr marL="18288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5pPr>
    <a:lvl6pPr marL="22860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6pPr>
    <a:lvl7pPr marL="27432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7pPr>
    <a:lvl8pPr marL="32004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8pPr>
    <a:lvl9pPr marL="36576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119">
          <p15:clr>
            <a:srgbClr val="A4A3A4"/>
          </p15:clr>
        </p15:guide>
        <p15:guide id="2" orient="horz" pos="3867">
          <p15:clr>
            <a:srgbClr val="A4A3A4"/>
          </p15:clr>
        </p15:guide>
        <p15:guide id="3" orient="horz" pos="801">
          <p15:clr>
            <a:srgbClr val="A4A3A4"/>
          </p15:clr>
        </p15:guide>
        <p15:guide id="4" orient="horz" pos="534">
          <p15:clr>
            <a:srgbClr val="A4A3A4"/>
          </p15:clr>
        </p15:guide>
        <p15:guide id="5" orient="horz" pos="703">
          <p15:clr>
            <a:srgbClr val="A4A3A4"/>
          </p15:clr>
        </p15:guide>
        <p15:guide id="6" orient="horz" pos="4121">
          <p15:clr>
            <a:srgbClr val="A4A3A4"/>
          </p15:clr>
        </p15:guide>
        <p15:guide id="7" orient="horz" pos="702">
          <p15:clr>
            <a:srgbClr val="A4A3A4"/>
          </p15:clr>
        </p15:guide>
        <p15:guide id="8" orient="horz" pos="1092">
          <p15:clr>
            <a:srgbClr val="A4A3A4"/>
          </p15:clr>
        </p15:guide>
        <p15:guide id="9" pos="5447">
          <p15:clr>
            <a:srgbClr val="A4A3A4"/>
          </p15:clr>
        </p15:guide>
        <p15:guide id="10" pos="2955">
          <p15:clr>
            <a:srgbClr val="A4A3A4"/>
          </p15:clr>
        </p15:guide>
        <p15:guide id="11" pos="367">
          <p15:clr>
            <a:srgbClr val="A4A3A4"/>
          </p15:clr>
        </p15:guide>
        <p15:guide id="12" pos="1394">
          <p15:clr>
            <a:srgbClr val="A4A3A4"/>
          </p15:clr>
        </p15:guide>
        <p15:guide id="13" pos="1303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043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schemeClr val="tx1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0"/>
      </p:ext>
    </p:extLst>
  </p:showPr>
  <p:clrMru>
    <a:srgbClr val="00377E"/>
    <a:srgbClr val="FF3300"/>
    <a:srgbClr val="800000"/>
    <a:srgbClr val="990000"/>
    <a:srgbClr val="CC0000"/>
    <a:srgbClr val="FFCC00"/>
    <a:srgbClr val="005EAD"/>
    <a:srgbClr val="002F52"/>
    <a:srgbClr val="00377D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34559" autoAdjust="0"/>
    <p:restoredTop sz="94646" autoAdjust="0"/>
  </p:normalViewPr>
  <p:slideViewPr>
    <p:cSldViewPr snapToGrid="0" showGuides="1">
      <p:cViewPr varScale="1">
        <p:scale>
          <a:sx n="126" d="100"/>
          <a:sy n="126" d="100"/>
        </p:scale>
        <p:origin x="-1242" y="-84"/>
      </p:cViewPr>
      <p:guideLst>
        <p:guide orient="horz" pos="119"/>
        <p:guide orient="horz" pos="3867"/>
        <p:guide orient="horz" pos="801"/>
        <p:guide orient="horz" pos="534"/>
        <p:guide orient="horz" pos="703"/>
        <p:guide orient="horz" pos="4121"/>
        <p:guide orient="horz" pos="702"/>
        <p:guide orient="horz" pos="1092"/>
        <p:guide pos="5447"/>
        <p:guide pos="2955"/>
        <p:guide pos="367"/>
        <p:guide pos="1394"/>
        <p:guide pos="130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121" d="100"/>
          <a:sy n="121" d="100"/>
        </p:scale>
        <p:origin x="-312" y="-112"/>
      </p:cViewPr>
      <p:guideLst>
        <p:guide orient="horz" pos="3043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0" y="0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177338"/>
            <a:ext cx="2971800" cy="484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9177338"/>
            <a:ext cx="2971800" cy="484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fld id="{D54606BC-1185-6343-8CD4-1A7CC7DA3AB6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26239445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Rectangle 1028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2081213" y="536575"/>
            <a:ext cx="11022013" cy="82661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 val="1"/>
            </a:ext>
          </a:extLst>
        </p:spPr>
      </p:sp>
      <p:sp>
        <p:nvSpPr>
          <p:cNvPr id="8197" name="Rectangle 1029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85750" y="8910638"/>
            <a:ext cx="6286500" cy="430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Klicken Sie, um die Textformatierung des Masters zu bearbeiten.</a:t>
            </a:r>
          </a:p>
        </p:txBody>
      </p:sp>
    </p:spTree>
    <p:extLst>
      <p:ext uri="{BB962C8B-B14F-4D97-AF65-F5344CB8AC3E}">
        <p14:creationId xmlns="" xmlns:p14="http://schemas.microsoft.com/office/powerpoint/2010/main" val="161221817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1pPr>
    <a:lvl2pPr marL="4572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2pPr>
    <a:lvl3pPr marL="9144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3pPr>
    <a:lvl4pPr marL="13716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4pPr>
    <a:lvl5pPr marL="18288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6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7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8064499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=""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=""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=""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</p:spTree>
    <p:extLst>
      <p:ext uri="{BB962C8B-B14F-4D97-AF65-F5344CB8AC3E}">
        <p14:creationId xmlns="" xmlns:p14="http://schemas.microsoft.com/office/powerpoint/2010/main" val="451353095"/>
      </p:ext>
    </p:extLst>
  </p:cSld>
  <p:clrMapOvr>
    <a:masterClrMapping/>
  </p:clrMapOvr>
  <p:transition>
    <p:dissolv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8063999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=""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</p:spTree>
    <p:extLst>
      <p:ext uri="{BB962C8B-B14F-4D97-AF65-F5344CB8AC3E}">
        <p14:creationId xmlns="" xmlns:p14="http://schemas.microsoft.com/office/powerpoint/2010/main" val="1875893249"/>
      </p:ext>
    </p:extLst>
  </p:cSld>
  <p:clrMapOvr>
    <a:masterClrMapping/>
  </p:clrMapOvr>
  <p:transition>
    <p:dissolv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C)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378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=""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=""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=""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="" xmlns:a16="http://schemas.microsoft.com/office/drawing/2014/main" id="{C62EF3F6-F6E9-5042-B877-596582C374A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857087" y="1448672"/>
            <a:ext cx="378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="" xmlns:p14="http://schemas.microsoft.com/office/powerpoint/2010/main" val="1980715932"/>
      </p:ext>
    </p:extLst>
  </p:cSld>
  <p:clrMapOvr>
    <a:masterClrMapping/>
  </p:clrMapOvr>
  <p:transition>
    <p:dissolv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=""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="" xmlns:a16="http://schemas.microsoft.com/office/drawing/2014/main" id="{9CB60196-2670-1E4E-9B83-83B9D30D80D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378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="" xmlns:a16="http://schemas.microsoft.com/office/drawing/2014/main" id="{C217A189-E2FB-3F4B-ABCD-C8FBBA962B5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857087" y="1448672"/>
            <a:ext cx="378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="" xmlns:p14="http://schemas.microsoft.com/office/powerpoint/2010/main" val="644154500"/>
      </p:ext>
    </p:extLst>
  </p:cSld>
  <p:clrMapOvr>
    <a:masterClrMapping/>
  </p:clrMapOvr>
  <p:transition>
    <p:dissolv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3C)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=""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=""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=""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="" xmlns:a16="http://schemas.microsoft.com/office/drawing/2014/main" id="{C62EF3F6-F6E9-5042-B877-596582C374A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345088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="" xmlns:a16="http://schemas.microsoft.com/office/drawing/2014/main" id="{A9BF1D72-C7DA-844D-9D02-3A0622DC17DB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117087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="" xmlns:p14="http://schemas.microsoft.com/office/powerpoint/2010/main" val="2951576585"/>
      </p:ext>
    </p:extLst>
  </p:cSld>
  <p:clrMapOvr>
    <a:masterClrMapping/>
  </p:clrMapOvr>
  <p:transition>
    <p:dissolv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3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=""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="" xmlns:a16="http://schemas.microsoft.com/office/drawing/2014/main" id="{24035B5A-D131-9E43-8819-54D8C7C5F65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="" xmlns:a16="http://schemas.microsoft.com/office/drawing/2014/main" id="{DA824A7B-3A0B-A54A-AD70-3A727E9C6539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45088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="" xmlns:a16="http://schemas.microsoft.com/office/drawing/2014/main" id="{B1B37D4C-618B-A04F-93D5-96AD3167BFE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117087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="" xmlns:p14="http://schemas.microsoft.com/office/powerpoint/2010/main" val="3408082518"/>
      </p:ext>
    </p:extLst>
  </p:cSld>
  <p:clrMapOvr>
    <a:masterClrMapping/>
  </p:clrMapOvr>
  <p:transition>
    <p:dissolv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Go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="" xmlns:a16="http://schemas.microsoft.com/office/drawing/2014/main" id="{2BFC69AB-ADCF-E041-BB63-A5BB6D80C4E3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4175129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5166" name="think-cell Folie" r:id="rId3" imgW="7761960" imgH="10047960" progId="">
              <p:embed/>
            </p:oleObj>
          </a:graphicData>
        </a:graphic>
      </p:graphicFrame>
      <p:sp>
        <p:nvSpPr>
          <p:cNvPr id="18" name="Inhaltsplatzhalter 2">
            <a:extLst>
              <a:ext uri="{FF2B5EF4-FFF2-40B4-BE49-F238E27FC236}">
                <a16:creationId xmlns="" xmlns:a16="http://schemas.microsoft.com/office/drawing/2014/main" id="{DD5A821F-471D-1642-8AAE-398D4B6F271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8064499" cy="41358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="1">
                <a:solidFill>
                  <a:srgbClr val="00377E"/>
                </a:solidFill>
              </a:defRPr>
            </a:lvl1pPr>
            <a:lvl2pPr marL="379413" indent="0">
              <a:buNone/>
              <a:defRPr/>
            </a:lvl2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=""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6" name="Richtungspfeil 5">
            <a:extLst>
              <a:ext uri="{FF2B5EF4-FFF2-40B4-BE49-F238E27FC236}">
                <a16:creationId xmlns="" xmlns:a16="http://schemas.microsoft.com/office/drawing/2014/main" id="{F5863112-C4A3-094E-881C-56CF812BDF6F}"/>
              </a:ext>
            </a:extLst>
          </p:cNvPr>
          <p:cNvSpPr/>
          <p:nvPr userDrawn="1"/>
        </p:nvSpPr>
        <p:spPr>
          <a:xfrm>
            <a:off x="818830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7" name="Richtungspfeil 6">
            <a:extLst>
              <a:ext uri="{FF2B5EF4-FFF2-40B4-BE49-F238E27FC236}">
                <a16:creationId xmlns="" xmlns:a16="http://schemas.microsoft.com/office/drawing/2014/main" id="{E97FCA0C-BD0E-3D4B-883C-D081A0BBAB0C}"/>
              </a:ext>
            </a:extLst>
          </p:cNvPr>
          <p:cNvSpPr/>
          <p:nvPr userDrawn="1"/>
        </p:nvSpPr>
        <p:spPr>
          <a:xfrm>
            <a:off x="689998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rgbClr val="00377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8" name="Richtungspfeil 7">
            <a:extLst>
              <a:ext uri="{FF2B5EF4-FFF2-40B4-BE49-F238E27FC236}">
                <a16:creationId xmlns="" xmlns:a16="http://schemas.microsoft.com/office/drawing/2014/main" id="{D0E4C74F-F834-ED46-9242-187CBB5BBB12}"/>
              </a:ext>
            </a:extLst>
          </p:cNvPr>
          <p:cNvSpPr/>
          <p:nvPr userDrawn="1"/>
        </p:nvSpPr>
        <p:spPr>
          <a:xfrm>
            <a:off x="577186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pic>
        <p:nvPicPr>
          <p:cNvPr id="10" name="Grafik 9">
            <a:extLst>
              <a:ext uri="{FF2B5EF4-FFF2-40B4-BE49-F238E27FC236}">
                <a16:creationId xmlns="" xmlns:a16="http://schemas.microsoft.com/office/drawing/2014/main" id="{79792184-303E-1043-881E-83B8E522119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42868" y="3411105"/>
            <a:ext cx="1093612" cy="1013507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="" xmlns:a16="http://schemas.microsoft.com/office/drawing/2014/main" id="{CDB0E940-A14D-C04F-A21F-2693423BA694}"/>
              </a:ext>
            </a:extLst>
          </p:cNvPr>
          <p:cNvSpPr/>
          <p:nvPr userDrawn="1"/>
        </p:nvSpPr>
        <p:spPr bwMode="auto">
          <a:xfrm>
            <a:off x="571900" y="1862262"/>
            <a:ext cx="8064499" cy="4140000"/>
          </a:xfrm>
          <a:prstGeom prst="rect">
            <a:avLst/>
          </a:prstGeom>
          <a:noFill/>
          <a:ln w="28575" cap="flat" cmpd="sng" algn="ctr">
            <a:solidFill>
              <a:srgbClr val="0037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1" name="Inhaltsplatzhalter 20">
            <a:extLst>
              <a:ext uri="{FF2B5EF4-FFF2-40B4-BE49-F238E27FC236}">
                <a16:creationId xmlns="" xmlns:a16="http://schemas.microsoft.com/office/drawing/2014/main" id="{34BCB425-150D-BB43-8D50-06323DF2783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372638" y="1862138"/>
            <a:ext cx="6263362" cy="4140200"/>
          </a:xfrm>
          <a:prstGeom prst="rect">
            <a:avLst/>
          </a:prstGeom>
        </p:spPr>
        <p:txBody>
          <a:bodyPr lIns="180000" tIns="360000" bIns="360000"/>
          <a:lstStyle/>
          <a:p>
            <a:pPr lvl="0"/>
            <a:r>
              <a:rPr lang="de-DE" dirty="0"/>
              <a:t>Text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999760585"/>
      </p:ext>
    </p:extLst>
  </p:cSld>
  <p:clrMapOvr>
    <a:masterClrMapping/>
  </p:clrMapOvr>
  <p:transition>
    <p:dissolv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="" xmlns:a16="http://schemas.microsoft.com/office/drawing/2014/main" id="{2BFC69AB-ADCF-E041-BB63-A5BB6D80C4E3}"/>
              </a:ext>
            </a:extLst>
          </p:cNvPr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3349" name="think-cell Folie" r:id="rId3" imgW="7761960" imgH="10047960" progId="">
              <p:embed/>
            </p:oleObj>
          </a:graphicData>
        </a:graphic>
      </p:graphicFrame>
      <p:sp>
        <p:nvSpPr>
          <p:cNvPr id="18" name="Inhaltsplatzhalter 2">
            <a:extLst>
              <a:ext uri="{FF2B5EF4-FFF2-40B4-BE49-F238E27FC236}">
                <a16:creationId xmlns="" xmlns:a16="http://schemas.microsoft.com/office/drawing/2014/main" id="{DD5A821F-471D-1642-8AAE-398D4B6F271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8064499" cy="41358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="1">
                <a:solidFill>
                  <a:srgbClr val="00377E"/>
                </a:solidFill>
              </a:defRPr>
            </a:lvl1pPr>
            <a:lvl2pPr marL="379413" indent="0">
              <a:buNone/>
              <a:defRPr/>
            </a:lvl2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=""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6" name="Richtungspfeil 5">
            <a:extLst>
              <a:ext uri="{FF2B5EF4-FFF2-40B4-BE49-F238E27FC236}">
                <a16:creationId xmlns="" xmlns:a16="http://schemas.microsoft.com/office/drawing/2014/main" id="{F5863112-C4A3-094E-881C-56CF812BDF6F}"/>
              </a:ext>
            </a:extLst>
          </p:cNvPr>
          <p:cNvSpPr/>
          <p:nvPr userDrawn="1"/>
        </p:nvSpPr>
        <p:spPr>
          <a:xfrm>
            <a:off x="818830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7" name="Richtungspfeil 6">
            <a:extLst>
              <a:ext uri="{FF2B5EF4-FFF2-40B4-BE49-F238E27FC236}">
                <a16:creationId xmlns="" xmlns:a16="http://schemas.microsoft.com/office/drawing/2014/main" id="{E97FCA0C-BD0E-3D4B-883C-D081A0BBAB0C}"/>
              </a:ext>
            </a:extLst>
          </p:cNvPr>
          <p:cNvSpPr/>
          <p:nvPr userDrawn="1"/>
        </p:nvSpPr>
        <p:spPr>
          <a:xfrm>
            <a:off x="689998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rgbClr val="00377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8" name="Richtungspfeil 7">
            <a:extLst>
              <a:ext uri="{FF2B5EF4-FFF2-40B4-BE49-F238E27FC236}">
                <a16:creationId xmlns="" xmlns:a16="http://schemas.microsoft.com/office/drawing/2014/main" id="{D0E4C74F-F834-ED46-9242-187CBB5BBB12}"/>
              </a:ext>
            </a:extLst>
          </p:cNvPr>
          <p:cNvSpPr/>
          <p:nvPr userDrawn="1"/>
        </p:nvSpPr>
        <p:spPr>
          <a:xfrm>
            <a:off x="577186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19" name="Rechteck 18">
            <a:extLst>
              <a:ext uri="{FF2B5EF4-FFF2-40B4-BE49-F238E27FC236}">
                <a16:creationId xmlns="" xmlns:a16="http://schemas.microsoft.com/office/drawing/2014/main" id="{CDB0E940-A14D-C04F-A21F-2693423BA694}"/>
              </a:ext>
            </a:extLst>
          </p:cNvPr>
          <p:cNvSpPr/>
          <p:nvPr userDrawn="1"/>
        </p:nvSpPr>
        <p:spPr bwMode="auto">
          <a:xfrm>
            <a:off x="571900" y="1862262"/>
            <a:ext cx="8064499" cy="4140000"/>
          </a:xfrm>
          <a:prstGeom prst="rect">
            <a:avLst/>
          </a:prstGeom>
          <a:noFill/>
          <a:ln w="28575" cap="flat" cmpd="sng" algn="ctr">
            <a:solidFill>
              <a:srgbClr val="0037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1" name="Inhaltsplatzhalter 20">
            <a:extLst>
              <a:ext uri="{FF2B5EF4-FFF2-40B4-BE49-F238E27FC236}">
                <a16:creationId xmlns="" xmlns:a16="http://schemas.microsoft.com/office/drawing/2014/main" id="{34BCB425-150D-BB43-8D50-06323DF2783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372638" y="1862138"/>
            <a:ext cx="6263362" cy="4140200"/>
          </a:xfrm>
          <a:prstGeom prst="rect">
            <a:avLst/>
          </a:prstGeom>
        </p:spPr>
        <p:txBody>
          <a:bodyPr lIns="180000" tIns="360000" bIns="360000"/>
          <a:lstStyle/>
          <a:p>
            <a:pPr lvl="0"/>
            <a:r>
              <a:rPr lang="de-DE" dirty="0"/>
              <a:t>Text</a:t>
            </a:r>
            <a:endParaRPr lang="en-GB" dirty="0"/>
          </a:p>
        </p:txBody>
      </p:sp>
      <p:pic>
        <p:nvPicPr>
          <p:cNvPr id="12" name="Grafik 11">
            <a:extLst>
              <a:ext uri="{FF2B5EF4-FFF2-40B4-BE49-F238E27FC236}">
                <a16:creationId xmlns="" xmlns:a16="http://schemas.microsoft.com/office/drawing/2014/main" id="{CFADCD90-1538-794F-94D7-D1B6833F7FD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99807" y="3503148"/>
            <a:ext cx="1154458" cy="802895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962341426"/>
      </p:ext>
    </p:extLst>
  </p:cSld>
  <p:clrMapOvr>
    <a:masterClrMapping/>
  </p:clrMapOvr>
  <p:transition>
    <p:dissolv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298" name="Picture 2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117" name="Rectangle 21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573088" y="183600"/>
            <a:ext cx="8074025" cy="36933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</a:extLst>
        </p:spPr>
        <p:txBody>
          <a:bodyPr lIns="0" anchor="ctr"/>
          <a:lstStyle>
            <a:lvl1pPr>
              <a:defRPr/>
            </a:lvl1pPr>
          </a:lstStyle>
          <a:p>
            <a:pPr lvl="0"/>
            <a:r>
              <a:rPr lang="en-GB" noProof="0" dirty="0"/>
              <a:t>Title</a:t>
            </a:r>
          </a:p>
        </p:txBody>
      </p:sp>
      <p:sp>
        <p:nvSpPr>
          <p:cNvPr id="8" name="Abgerundetes Rechteck 2"/>
          <p:cNvSpPr/>
          <p:nvPr userDrawn="1"/>
        </p:nvSpPr>
        <p:spPr bwMode="auto">
          <a:xfrm>
            <a:off x="7024687" y="5947200"/>
            <a:ext cx="2119313" cy="910800"/>
          </a:xfrm>
          <a:custGeom>
            <a:avLst/>
            <a:gdLst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632783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2632783 w 2632783"/>
              <a:gd name="connsiteY0" fmla="*/ 867082 h 1260000"/>
              <a:gd name="connsiteX1" fmla="*/ 2239865 w 2632783"/>
              <a:gd name="connsiteY1" fmla="*/ 1260000 h 1260000"/>
              <a:gd name="connsiteX2" fmla="*/ 392918 w 2632783"/>
              <a:gd name="connsiteY2" fmla="*/ 1260000 h 1260000"/>
              <a:gd name="connsiteX3" fmla="*/ 0 w 2632783"/>
              <a:gd name="connsiteY3" fmla="*/ 867082 h 1260000"/>
              <a:gd name="connsiteX4" fmla="*/ 0 w 2632783"/>
              <a:gd name="connsiteY4" fmla="*/ 392918 h 1260000"/>
              <a:gd name="connsiteX5" fmla="*/ 392918 w 2632783"/>
              <a:gd name="connsiteY5" fmla="*/ 0 h 1260000"/>
              <a:gd name="connsiteX6" fmla="*/ 2239865 w 2632783"/>
              <a:gd name="connsiteY6" fmla="*/ 0 h 1260000"/>
              <a:gd name="connsiteX7" fmla="*/ 2499140 w 2632783"/>
              <a:gd name="connsiteY7" fmla="*/ 484358 h 1260000"/>
              <a:gd name="connsiteX0" fmla="*/ 2239865 w 2499140"/>
              <a:gd name="connsiteY0" fmla="*/ 1260000 h 1260000"/>
              <a:gd name="connsiteX1" fmla="*/ 392918 w 2499140"/>
              <a:gd name="connsiteY1" fmla="*/ 1260000 h 1260000"/>
              <a:gd name="connsiteX2" fmla="*/ 0 w 2499140"/>
              <a:gd name="connsiteY2" fmla="*/ 867082 h 1260000"/>
              <a:gd name="connsiteX3" fmla="*/ 0 w 2499140"/>
              <a:gd name="connsiteY3" fmla="*/ 392918 h 1260000"/>
              <a:gd name="connsiteX4" fmla="*/ 392918 w 2499140"/>
              <a:gd name="connsiteY4" fmla="*/ 0 h 1260000"/>
              <a:gd name="connsiteX5" fmla="*/ 2239865 w 2499140"/>
              <a:gd name="connsiteY5" fmla="*/ 0 h 1260000"/>
              <a:gd name="connsiteX6" fmla="*/ 2499140 w 2499140"/>
              <a:gd name="connsiteY6" fmla="*/ 484358 h 1260000"/>
              <a:gd name="connsiteX0" fmla="*/ 2239865 w 2239865"/>
              <a:gd name="connsiteY0" fmla="*/ 1260000 h 1260000"/>
              <a:gd name="connsiteX1" fmla="*/ 392918 w 2239865"/>
              <a:gd name="connsiteY1" fmla="*/ 1260000 h 1260000"/>
              <a:gd name="connsiteX2" fmla="*/ 0 w 2239865"/>
              <a:gd name="connsiteY2" fmla="*/ 867082 h 1260000"/>
              <a:gd name="connsiteX3" fmla="*/ 0 w 2239865"/>
              <a:gd name="connsiteY3" fmla="*/ 392918 h 1260000"/>
              <a:gd name="connsiteX4" fmla="*/ 392918 w 2239865"/>
              <a:gd name="connsiteY4" fmla="*/ 0 h 1260000"/>
              <a:gd name="connsiteX5" fmla="*/ 2239865 w 2239865"/>
              <a:gd name="connsiteY5" fmla="*/ 0 h 1260000"/>
              <a:gd name="connsiteX0" fmla="*/ 2239865 w 2239865"/>
              <a:gd name="connsiteY0" fmla="*/ 1260000 h 1260000"/>
              <a:gd name="connsiteX1" fmla="*/ 0 w 2239865"/>
              <a:gd name="connsiteY1" fmla="*/ 867082 h 1260000"/>
              <a:gd name="connsiteX2" fmla="*/ 0 w 2239865"/>
              <a:gd name="connsiteY2" fmla="*/ 392918 h 1260000"/>
              <a:gd name="connsiteX3" fmla="*/ 392918 w 2239865"/>
              <a:gd name="connsiteY3" fmla="*/ 0 h 1260000"/>
              <a:gd name="connsiteX4" fmla="*/ 2239865 w 2239865"/>
              <a:gd name="connsiteY4" fmla="*/ 0 h 1260000"/>
              <a:gd name="connsiteX0" fmla="*/ 2239865 w 2239865"/>
              <a:gd name="connsiteY0" fmla="*/ 894240 h 894240"/>
              <a:gd name="connsiteX1" fmla="*/ 0 w 2239865"/>
              <a:gd name="connsiteY1" fmla="*/ 867082 h 894240"/>
              <a:gd name="connsiteX2" fmla="*/ 0 w 2239865"/>
              <a:gd name="connsiteY2" fmla="*/ 392918 h 894240"/>
              <a:gd name="connsiteX3" fmla="*/ 392918 w 2239865"/>
              <a:gd name="connsiteY3" fmla="*/ 0 h 894240"/>
              <a:gd name="connsiteX4" fmla="*/ 2239865 w 2239865"/>
              <a:gd name="connsiteY4" fmla="*/ 0 h 894240"/>
              <a:gd name="connsiteX0" fmla="*/ 2253933 w 2253933"/>
              <a:gd name="connsiteY0" fmla="*/ 873139 h 873139"/>
              <a:gd name="connsiteX1" fmla="*/ 0 w 2253933"/>
              <a:gd name="connsiteY1" fmla="*/ 867082 h 873139"/>
              <a:gd name="connsiteX2" fmla="*/ 0 w 2253933"/>
              <a:gd name="connsiteY2" fmla="*/ 392918 h 873139"/>
              <a:gd name="connsiteX3" fmla="*/ 392918 w 2253933"/>
              <a:gd name="connsiteY3" fmla="*/ 0 h 873139"/>
              <a:gd name="connsiteX4" fmla="*/ 2239865 w 2253933"/>
              <a:gd name="connsiteY4" fmla="*/ 0 h 873139"/>
              <a:gd name="connsiteX0" fmla="*/ 2253933 w 2253933"/>
              <a:gd name="connsiteY0" fmla="*/ 873139 h 909285"/>
              <a:gd name="connsiteX1" fmla="*/ 0 w 2253933"/>
              <a:gd name="connsiteY1" fmla="*/ 909285 h 909285"/>
              <a:gd name="connsiteX2" fmla="*/ 0 w 2253933"/>
              <a:gd name="connsiteY2" fmla="*/ 392918 h 909285"/>
              <a:gd name="connsiteX3" fmla="*/ 392918 w 2253933"/>
              <a:gd name="connsiteY3" fmla="*/ 0 h 909285"/>
              <a:gd name="connsiteX4" fmla="*/ 2239865 w 2253933"/>
              <a:gd name="connsiteY4" fmla="*/ 0 h 909285"/>
              <a:gd name="connsiteX0" fmla="*/ 2113256 w 2239865"/>
              <a:gd name="connsiteY0" fmla="*/ 922376 h 922376"/>
              <a:gd name="connsiteX1" fmla="*/ 0 w 2239865"/>
              <a:gd name="connsiteY1" fmla="*/ 909285 h 922376"/>
              <a:gd name="connsiteX2" fmla="*/ 0 w 2239865"/>
              <a:gd name="connsiteY2" fmla="*/ 392918 h 922376"/>
              <a:gd name="connsiteX3" fmla="*/ 392918 w 2239865"/>
              <a:gd name="connsiteY3" fmla="*/ 0 h 922376"/>
              <a:gd name="connsiteX4" fmla="*/ 2239865 w 2239865"/>
              <a:gd name="connsiteY4" fmla="*/ 0 h 922376"/>
              <a:gd name="connsiteX0" fmla="*/ 2113256 w 2113256"/>
              <a:gd name="connsiteY0" fmla="*/ 922376 h 922376"/>
              <a:gd name="connsiteX1" fmla="*/ 0 w 2113256"/>
              <a:gd name="connsiteY1" fmla="*/ 909285 h 922376"/>
              <a:gd name="connsiteX2" fmla="*/ 0 w 2113256"/>
              <a:gd name="connsiteY2" fmla="*/ 392918 h 922376"/>
              <a:gd name="connsiteX3" fmla="*/ 392918 w 2113256"/>
              <a:gd name="connsiteY3" fmla="*/ 0 h 922376"/>
              <a:gd name="connsiteX4" fmla="*/ 2099188 w 2113256"/>
              <a:gd name="connsiteY4" fmla="*/ 0 h 922376"/>
              <a:gd name="connsiteX0" fmla="*/ 2113256 w 2148425"/>
              <a:gd name="connsiteY0" fmla="*/ 922376 h 922376"/>
              <a:gd name="connsiteX1" fmla="*/ 0 w 2148425"/>
              <a:gd name="connsiteY1" fmla="*/ 909285 h 922376"/>
              <a:gd name="connsiteX2" fmla="*/ 0 w 2148425"/>
              <a:gd name="connsiteY2" fmla="*/ 392918 h 922376"/>
              <a:gd name="connsiteX3" fmla="*/ 392918 w 2148425"/>
              <a:gd name="connsiteY3" fmla="*/ 0 h 922376"/>
              <a:gd name="connsiteX4" fmla="*/ 2148425 w 2148425"/>
              <a:gd name="connsiteY4" fmla="*/ 0 h 922376"/>
              <a:gd name="connsiteX0" fmla="*/ 2113256 w 2113256"/>
              <a:gd name="connsiteY0" fmla="*/ 936444 h 936444"/>
              <a:gd name="connsiteX1" fmla="*/ 0 w 2113256"/>
              <a:gd name="connsiteY1" fmla="*/ 923353 h 936444"/>
              <a:gd name="connsiteX2" fmla="*/ 0 w 2113256"/>
              <a:gd name="connsiteY2" fmla="*/ 406986 h 936444"/>
              <a:gd name="connsiteX3" fmla="*/ 392918 w 2113256"/>
              <a:gd name="connsiteY3" fmla="*/ 14068 h 936444"/>
              <a:gd name="connsiteX4" fmla="*/ 2085120 w 2113256"/>
              <a:gd name="connsiteY4" fmla="*/ 0 h 936444"/>
              <a:gd name="connsiteX0" fmla="*/ 2113256 w 2127323"/>
              <a:gd name="connsiteY0" fmla="*/ 936444 h 936444"/>
              <a:gd name="connsiteX1" fmla="*/ 0 w 2127323"/>
              <a:gd name="connsiteY1" fmla="*/ 923353 h 936444"/>
              <a:gd name="connsiteX2" fmla="*/ 0 w 2127323"/>
              <a:gd name="connsiteY2" fmla="*/ 406986 h 936444"/>
              <a:gd name="connsiteX3" fmla="*/ 392918 w 2127323"/>
              <a:gd name="connsiteY3" fmla="*/ 14068 h 936444"/>
              <a:gd name="connsiteX4" fmla="*/ 2127323 w 2127323"/>
              <a:gd name="connsiteY4" fmla="*/ 0 h 936444"/>
              <a:gd name="connsiteX0" fmla="*/ 2134357 w 2134357"/>
              <a:gd name="connsiteY0" fmla="*/ 915343 h 923353"/>
              <a:gd name="connsiteX1" fmla="*/ 0 w 2134357"/>
              <a:gd name="connsiteY1" fmla="*/ 923353 h 923353"/>
              <a:gd name="connsiteX2" fmla="*/ 0 w 2134357"/>
              <a:gd name="connsiteY2" fmla="*/ 406986 h 923353"/>
              <a:gd name="connsiteX3" fmla="*/ 392918 w 2134357"/>
              <a:gd name="connsiteY3" fmla="*/ 14068 h 923353"/>
              <a:gd name="connsiteX4" fmla="*/ 2127323 w 2134357"/>
              <a:gd name="connsiteY4" fmla="*/ 0 h 923353"/>
              <a:gd name="connsiteX0" fmla="*/ 2134357 w 2134357"/>
              <a:gd name="connsiteY0" fmla="*/ 901275 h 909285"/>
              <a:gd name="connsiteX1" fmla="*/ 0 w 2134357"/>
              <a:gd name="connsiteY1" fmla="*/ 909285 h 909285"/>
              <a:gd name="connsiteX2" fmla="*/ 0 w 2134357"/>
              <a:gd name="connsiteY2" fmla="*/ 392918 h 909285"/>
              <a:gd name="connsiteX3" fmla="*/ 392918 w 2134357"/>
              <a:gd name="connsiteY3" fmla="*/ 0 h 909285"/>
              <a:gd name="connsiteX4" fmla="*/ 2132119 w 2134357"/>
              <a:gd name="connsiteY4" fmla="*/ 219 h 909285"/>
              <a:gd name="connsiteX0" fmla="*/ 2134357 w 2134357"/>
              <a:gd name="connsiteY0" fmla="*/ 910800 h 910800"/>
              <a:gd name="connsiteX1" fmla="*/ 0 w 2134357"/>
              <a:gd name="connsiteY1" fmla="*/ 909285 h 910800"/>
              <a:gd name="connsiteX2" fmla="*/ 0 w 2134357"/>
              <a:gd name="connsiteY2" fmla="*/ 392918 h 910800"/>
              <a:gd name="connsiteX3" fmla="*/ 392918 w 2134357"/>
              <a:gd name="connsiteY3" fmla="*/ 0 h 910800"/>
              <a:gd name="connsiteX4" fmla="*/ 2132119 w 2134357"/>
              <a:gd name="connsiteY4" fmla="*/ 219 h 91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34357" h="910800">
                <a:moveTo>
                  <a:pt x="2134357" y="910800"/>
                </a:moveTo>
                <a:lnTo>
                  <a:pt x="0" y="909285"/>
                </a:lnTo>
                <a:lnTo>
                  <a:pt x="0" y="392918"/>
                </a:lnTo>
                <a:cubicBezTo>
                  <a:pt x="0" y="175915"/>
                  <a:pt x="175915" y="0"/>
                  <a:pt x="392918" y="0"/>
                </a:cubicBezTo>
                <a:lnTo>
                  <a:pt x="2132119" y="219"/>
                </a:lnTo>
              </a:path>
            </a:pathLst>
          </a:custGeom>
          <a:solidFill>
            <a:schemeClr val="bg1"/>
          </a:solidFill>
          <a:ln w="1270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500" b="0" i="0" u="none" strike="noStrike" cap="none" normalizeH="0" baseline="0">
              <a:ln>
                <a:noFill/>
              </a:ln>
              <a:solidFill>
                <a:srgbClr val="0028AD"/>
              </a:solidFill>
              <a:effectLst/>
              <a:latin typeface="Arial" charset="0"/>
            </a:endParaRPr>
          </a:p>
        </p:txBody>
      </p:sp>
      <p:pic>
        <p:nvPicPr>
          <p:cNvPr id="4154" name="Picture 58" descr="Logo-RGB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1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platzhalter 2">
            <a:extLst>
              <a:ext uri="{FF2B5EF4-FFF2-40B4-BE49-F238E27FC236}">
                <a16:creationId xmlns="" xmlns:a16="http://schemas.microsoft.com/office/drawing/2014/main" id="{C0B43EBC-5C81-9048-99D8-98BF6E9AAFB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Subtitle</a:t>
            </a:r>
            <a:endParaRPr lang="en-GB" noProof="0"/>
          </a:p>
        </p:txBody>
      </p:sp>
      <p:pic>
        <p:nvPicPr>
          <p:cNvPr id="4158" name="Picture 62" descr="Kästchen-blau-breit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>
    <p:dissolv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="" xmlns:a16="http://schemas.microsoft.com/office/drawing/2014/main" id="{EC2B0189-9A52-6C4C-A12C-68DF1D84975B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3259943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263" name="think-cell Folie" r:id="rId13" imgW="7761960" imgH="10047960" progId="">
              <p:embed/>
            </p:oleObj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="" xmlns:a16="http://schemas.microsoft.com/office/drawing/2014/main" id="{D6DFE7FB-BD09-AA46-851D-B1DBEFD8BECC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1270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pic>
        <p:nvPicPr>
          <p:cNvPr id="1178" name="Picture 154" descr="Kästchen-blau-breit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173" name="Text Box 149"/>
          <p:cNvSpPr txBox="1">
            <a:spLocks noChangeArrowheads="1"/>
          </p:cNvSpPr>
          <p:nvPr/>
        </p:nvSpPr>
        <p:spPr bwMode="auto">
          <a:xfrm>
            <a:off x="582612" y="6134400"/>
            <a:ext cx="6442075" cy="407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algn="l">
              <a:spcBef>
                <a:spcPct val="50000"/>
              </a:spcBef>
            </a:pPr>
            <a:r>
              <a:rPr lang="de-DE" sz="800" dirty="0">
                <a:solidFill>
                  <a:schemeClr val="tx1"/>
                </a:solidFill>
              </a:rPr>
              <a:t>Prof. Dr. </a:t>
            </a:r>
            <a:r>
              <a:rPr lang="de-DE" sz="800" dirty="0" smtClean="0">
                <a:solidFill>
                  <a:schemeClr val="tx1"/>
                </a:solidFill>
              </a:rPr>
              <a:t>Gawron</a:t>
            </a:r>
            <a:r>
              <a:rPr lang="de-DE" sz="800" dirty="0">
                <a:solidFill>
                  <a:schemeClr val="tx1"/>
                </a:solidFill>
              </a:rPr>
              <a:t/>
            </a:r>
            <a:br>
              <a:rPr lang="de-DE" sz="800" dirty="0">
                <a:solidFill>
                  <a:schemeClr val="tx1"/>
                </a:solidFill>
              </a:rPr>
            </a:br>
            <a:r>
              <a:rPr lang="de-DE" sz="800" dirty="0">
                <a:solidFill>
                  <a:schemeClr val="tx1"/>
                </a:solidFill>
              </a:rPr>
              <a:t>Slide </a:t>
            </a:r>
            <a:fld id="{44BA279E-E9BC-D743-974C-EFE8A41952FB}" type="slidenum">
              <a:rPr lang="de-DE" sz="800">
                <a:solidFill>
                  <a:schemeClr val="tx1"/>
                </a:solidFill>
              </a:rPr>
              <a:pPr algn="l">
                <a:spcBef>
                  <a:spcPct val="50000"/>
                </a:spcBef>
              </a:pPr>
              <a:t>‹Nr.›</a:t>
            </a:fld>
            <a:r>
              <a:rPr lang="de-DE" sz="800" dirty="0">
                <a:solidFill>
                  <a:schemeClr val="tx1"/>
                </a:solidFill>
              </a:rPr>
              <a:t> (SS </a:t>
            </a:r>
            <a:r>
              <a:rPr lang="de-DE" sz="800" dirty="0" smtClean="0">
                <a:solidFill>
                  <a:schemeClr val="tx1"/>
                </a:solidFill>
              </a:rPr>
              <a:t>2023)</a:t>
            </a:r>
            <a:endParaRPr lang="de-DE" sz="800" dirty="0">
              <a:solidFill>
                <a:schemeClr val="tx1"/>
              </a:solidFill>
            </a:endParaRPr>
          </a:p>
        </p:txBody>
      </p:sp>
      <p:pic>
        <p:nvPicPr>
          <p:cNvPr id="1176" name="Picture 152" descr="Kästchen-weiss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26407" b="68468"/>
          <a:stretch>
            <a:fillRect/>
          </a:stretch>
        </p:blipFill>
        <p:spPr bwMode="auto">
          <a:xfrm>
            <a:off x="7024688" y="5949950"/>
            <a:ext cx="2119312" cy="908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177" name="Picture 153" descr="Logo-RGB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4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4" r:id="rId3"/>
    <p:sldLayoutId id="2147483655" r:id="rId4"/>
    <p:sldLayoutId id="2147483656" r:id="rId5"/>
    <p:sldLayoutId id="2147483657" r:id="rId6"/>
    <p:sldLayoutId id="2147483652" r:id="rId7"/>
    <p:sldLayoutId id="2147483653" r:id="rId8"/>
    <p:sldLayoutId id="2147483649" r:id="rId9"/>
  </p:sldLayoutIdLst>
  <p:transition>
    <p:dissolve/>
  </p:transition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9pPr>
    </p:titleStyle>
    <p:bodyStyle>
      <a:lvl1pPr marL="188913" indent="-188913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665163" indent="-28575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2pPr>
      <a:lvl3pPr marL="1084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3pPr>
      <a:lvl4pPr marL="15033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4pPr>
      <a:lvl5pPr marL="19224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5pPr>
      <a:lvl6pPr marL="23796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6pPr>
      <a:lvl7pPr marL="28368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7pPr>
      <a:lvl8pPr marL="32940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8pPr>
      <a:lvl9pPr marL="3751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de-DE" dirty="0" smtClean="0"/>
              <a:t>Web Mining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Vorhersage von Spielergebnissen der ersten Bundesliga</a:t>
            </a:r>
            <a:endParaRPr lang="de-DE" dirty="0"/>
          </a:p>
        </p:txBody>
      </p:sp>
    </p:spTree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Web Mining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smtClean="0"/>
              <a:t>Überblick</a:t>
            </a:r>
            <a:endParaRPr lang="de-DE" dirty="0"/>
          </a:p>
        </p:txBody>
      </p:sp>
      <p:pic>
        <p:nvPicPr>
          <p:cNvPr id="56324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578677" y="1488735"/>
            <a:ext cx="3337006" cy="4416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>
    <p:dissolv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Web Minin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smtClean="0"/>
              <a:t>Web-</a:t>
            </a:r>
            <a:r>
              <a:rPr lang="de-DE" dirty="0" err="1" smtClean="0"/>
              <a:t>Scraping</a:t>
            </a:r>
            <a:endParaRPr lang="de-DE" dirty="0"/>
          </a:p>
        </p:txBody>
      </p:sp>
    </p:spTree>
  </p:cSld>
  <p:clrMapOvr>
    <a:masterClrMapping/>
  </p:clrMapOvr>
  <p:transition>
    <p:dissolv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Web Minin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 smtClean="0"/>
              <a:t>Elo</a:t>
            </a:r>
            <a:r>
              <a:rPr lang="de-DE" dirty="0" smtClean="0"/>
              <a:t>-Zahl misst die Mannschaftsstärke basierend auf vergangenen Ergebnisse</a:t>
            </a:r>
          </a:p>
          <a:p>
            <a:r>
              <a:rPr lang="de-DE" dirty="0" smtClean="0"/>
              <a:t>Basierend der </a:t>
            </a:r>
            <a:r>
              <a:rPr lang="de-DE" dirty="0" err="1" smtClean="0"/>
              <a:t>Elo</a:t>
            </a:r>
            <a:r>
              <a:rPr lang="de-DE" dirty="0" smtClean="0"/>
              <a:t>-Zahl von 2 Mannschaften kann ein Erwartungswert für ein bevorstehendes Spiel berechnet werden</a:t>
            </a:r>
          </a:p>
          <a:p>
            <a:r>
              <a:rPr lang="de-DE" dirty="0" smtClean="0"/>
              <a:t>Alle historischen </a:t>
            </a:r>
            <a:r>
              <a:rPr lang="de-DE" dirty="0" err="1" smtClean="0"/>
              <a:t>Elo</a:t>
            </a:r>
            <a:r>
              <a:rPr lang="de-DE" dirty="0" smtClean="0"/>
              <a:t>-Werte der Mannschaften liegen vor</a:t>
            </a:r>
          </a:p>
          <a:p>
            <a:endParaRPr lang="de-DE" dirty="0" smtClean="0"/>
          </a:p>
          <a:p>
            <a:r>
              <a:rPr lang="de-DE" dirty="0" err="1" smtClean="0"/>
              <a:t>We</a:t>
            </a:r>
            <a:r>
              <a:rPr lang="de-DE" dirty="0" smtClean="0"/>
              <a:t> = Erwartungswert  </a:t>
            </a:r>
          </a:p>
          <a:p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  <a:p>
            <a:r>
              <a:rPr lang="de-DE" dirty="0" smtClean="0"/>
              <a:t>0 =&gt; sicher erwartete Niederlage, 1 =&gt; sicher erwarteten Sieg</a:t>
            </a:r>
          </a:p>
          <a:p>
            <a:r>
              <a:rPr lang="de-DE" dirty="0" err="1" smtClean="0"/>
              <a:t>dr</a:t>
            </a:r>
            <a:r>
              <a:rPr lang="de-DE" dirty="0" smtClean="0"/>
              <a:t> </a:t>
            </a:r>
            <a:r>
              <a:rPr lang="de-DE" dirty="0" smtClean="0"/>
              <a:t>= Der Punkteabstand (positiv oder negativ) in der Wertung des gegnerischen Teams gegenüber dem zu bewertenden Team</a:t>
            </a:r>
            <a:r>
              <a:rPr lang="de-DE" dirty="0" smtClean="0"/>
              <a:t>. Die Mannschaft mit Heimvorteil wird mit 100 Punktet besser bewertet.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smtClean="0"/>
              <a:t>Benchmark mit </a:t>
            </a:r>
            <a:r>
              <a:rPr lang="de-DE" dirty="0" err="1" smtClean="0"/>
              <a:t>Elo</a:t>
            </a:r>
            <a:r>
              <a:rPr lang="de-DE" dirty="0" smtClean="0"/>
              <a:t> Rating</a:t>
            </a:r>
            <a:endParaRPr lang="de-DE" dirty="0"/>
          </a:p>
        </p:txBody>
      </p:sp>
      <p:pic>
        <p:nvPicPr>
          <p:cNvPr id="5734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217914" y="3396960"/>
            <a:ext cx="2390775" cy="895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>
    <p:dissolv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NggB5j5u4R9y848IjgMA"/>
</p:tagLst>
</file>

<file path=ppt/theme/theme1.xml><?xml version="1.0" encoding="utf-8"?>
<a:theme xmlns:a="http://schemas.openxmlformats.org/drawingml/2006/main" name="Leere Präsentation">
  <a:themeElements>
    <a:clrScheme name="Leere Präsentation 2">
      <a:dk1>
        <a:srgbClr val="000000"/>
      </a:dk1>
      <a:lt1>
        <a:srgbClr val="FFFFFF"/>
      </a:lt1>
      <a:dk2>
        <a:srgbClr val="005EAD"/>
      </a:dk2>
      <a:lt2>
        <a:srgbClr val="000000"/>
      </a:lt2>
      <a:accent1>
        <a:srgbClr val="C0C0C0"/>
      </a:accent1>
      <a:accent2>
        <a:srgbClr val="005EAD"/>
      </a:accent2>
      <a:accent3>
        <a:srgbClr val="FFFFFF"/>
      </a:accent3>
      <a:accent4>
        <a:srgbClr val="000000"/>
      </a:accent4>
      <a:accent5>
        <a:srgbClr val="DCDCDC"/>
      </a:accent5>
      <a:accent6>
        <a:srgbClr val="00549C"/>
      </a:accent6>
      <a:hlink>
        <a:srgbClr val="B2B2B2"/>
      </a:hlink>
      <a:folHlink>
        <a:srgbClr val="000000"/>
      </a:folHlink>
    </a:clrScheme>
    <a:fontScheme name="Leere Prä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 xmlns="">
              <a:solidFill>
                <a:schemeClr val="accent2"/>
              </a:solidFill>
            </a14:hiddenFill>
          </a:ex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 xmlns="">
              <a:solidFill>
                <a:schemeClr val="accent2"/>
              </a:solidFill>
            </a14:hiddenFill>
          </a:ex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ln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33CC"/>
        </a:dk2>
        <a:lt2>
          <a:srgbClr val="000000"/>
        </a:lt2>
        <a:accent1>
          <a:srgbClr val="3399FF"/>
        </a:accent1>
        <a:accent2>
          <a:srgbClr val="0033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002DB9"/>
        </a:accent6>
        <a:hlink>
          <a:srgbClr val="CC00CC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5EAD"/>
        </a:dk2>
        <a:lt2>
          <a:srgbClr val="000000"/>
        </a:lt2>
        <a:accent1>
          <a:srgbClr val="C0C0C0"/>
        </a:accent1>
        <a:accent2>
          <a:srgbClr val="005EAD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49C"/>
        </a:accent6>
        <a:hlink>
          <a:srgbClr val="B2B2B2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acintosh HD:PROGRAMME:Microsoft Office 98:Vorlagen:Leere Präsentation</Template>
  <TotalTime>0</TotalTime>
  <Words>96</Words>
  <Application>Microsoft Office PowerPoint</Application>
  <PresentationFormat>Bildschirmpräsentation (4:3)</PresentationFormat>
  <Paragraphs>19</Paragraphs>
  <Slides>4</Slides>
  <Notes>0</Notes>
  <HiddenSlides>0</HiddenSlides>
  <MMClips>0</MMClips>
  <ScaleCrop>false</ScaleCrop>
  <HeadingPairs>
    <vt:vector size="8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  <vt:variant>
        <vt:lpstr>Zielgruppenorientierte Präsentationen</vt:lpstr>
      </vt:variant>
      <vt:variant>
        <vt:i4>1</vt:i4>
      </vt:variant>
    </vt:vector>
  </HeadingPairs>
  <TitlesOfParts>
    <vt:vector size="7" baseType="lpstr">
      <vt:lpstr>Leere Präsentation</vt:lpstr>
      <vt:lpstr>think-cell Folie</vt:lpstr>
      <vt:lpstr>Web Mining</vt:lpstr>
      <vt:lpstr>Web Mining</vt:lpstr>
      <vt:lpstr>Web Mining</vt:lpstr>
      <vt:lpstr>Web Mining</vt:lpstr>
      <vt:lpstr>Mustermann1</vt:lpstr>
    </vt:vector>
  </TitlesOfParts>
  <Company>Susanne Hampe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chhochschule Südwestfalen</dc:title>
  <dc:creator>Susanne Hampe</dc:creator>
  <cp:lastModifiedBy>User</cp:lastModifiedBy>
  <cp:revision>594</cp:revision>
  <cp:lastPrinted>2010-04-29T14:30:22Z</cp:lastPrinted>
  <dcterms:created xsi:type="dcterms:W3CDTF">2010-04-29T12:39:23Z</dcterms:created>
  <dcterms:modified xsi:type="dcterms:W3CDTF">2023-07-14T09:58:41Z</dcterms:modified>
</cp:coreProperties>
</file>